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7F0000"/>
    <a:srgbClr val="F80000"/>
    <a:srgbClr val="FF8989"/>
    <a:srgbClr val="A7A7A7"/>
    <a:srgbClr val="F6F6F6"/>
    <a:srgbClr val="D1D1D1"/>
    <a:srgbClr val="626262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0B95380-40E0-4A9F-A80B-AAD5C0983CFE}"/>
    <pc:docChg chg="undo custSel modSld">
      <pc:chgData name="Weigel Stefan (PAR-EPS)" userId="fd3b2067-2981-4ad8-bf3a-d2e1004e4fa8" providerId="ADAL" clId="{90B95380-40E0-4A9F-A80B-AAD5C0983CFE}" dt="2024-04-23T12:42:26.548" v="31" actId="692"/>
      <pc:docMkLst>
        <pc:docMk/>
      </pc:docMkLst>
      <pc:sldChg chg="addSp modSp mod">
        <pc:chgData name="Weigel Stefan (PAR-EPS)" userId="fd3b2067-2981-4ad8-bf3a-d2e1004e4fa8" providerId="ADAL" clId="{90B95380-40E0-4A9F-A80B-AAD5C0983CFE}" dt="2024-04-23T12:42:26.548" v="31" actId="692"/>
        <pc:sldMkLst>
          <pc:docMk/>
          <pc:sldMk cId="1183644670" sldId="410"/>
        </pc:sldMkLst>
        <pc:spChg chg="add mod">
          <ac:chgData name="Weigel Stefan (PAR-EPS)" userId="fd3b2067-2981-4ad8-bf3a-d2e1004e4fa8" providerId="ADAL" clId="{90B95380-40E0-4A9F-A80B-AAD5C0983CFE}" dt="2024-04-23T12:41:44.277" v="30" actId="20577"/>
          <ac:spMkLst>
            <pc:docMk/>
            <pc:sldMk cId="1183644670" sldId="410"/>
            <ac:spMk id="3" creationId="{FAEEAB40-68B5-8C7C-3693-60ADB0432ADE}"/>
          </ac:spMkLst>
        </pc:spChg>
        <pc:spChg chg="mod">
          <ac:chgData name="Weigel Stefan (PAR-EPS)" userId="fd3b2067-2981-4ad8-bf3a-d2e1004e4fa8" providerId="ADAL" clId="{90B95380-40E0-4A9F-A80B-AAD5C0983CFE}" dt="2024-04-23T12:39:44.879" v="24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90B95380-40E0-4A9F-A80B-AAD5C0983CFE}" dt="2024-04-23T12:42:26.548" v="31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E3DE2E05-1CA2-4A1B-BBB6-6B5FBF774AF5}"/>
    <pc:docChg chg="modSld">
      <pc:chgData name="Weigel Stefan (PAR-EPS)" userId="fd3b2067-2981-4ad8-bf3a-d2e1004e4fa8" providerId="ADAL" clId="{E3DE2E05-1CA2-4A1B-BBB6-6B5FBF774AF5}" dt="2025-02-22T14:17:05.778" v="3" actId="27918"/>
      <pc:docMkLst>
        <pc:docMk/>
      </pc:docMkLst>
      <pc:sldChg chg="modSp mod">
        <pc:chgData name="Weigel Stefan (PAR-EPS)" userId="fd3b2067-2981-4ad8-bf3a-d2e1004e4fa8" providerId="ADAL" clId="{E3DE2E05-1CA2-4A1B-BBB6-6B5FBF774AF5}" dt="2025-02-22T14:17:05.778" v="3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E3DE2E05-1CA2-4A1B-BBB6-6B5FBF774AF5}" dt="2025-02-22T14:16:40.928" v="0" actId="79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3E9ECF96-226D-4AF2-81C7-0101A1670EF0}"/>
    <pc:docChg chg="modSld">
      <pc:chgData name="Weigel Stefan (PAR-EPS)" userId="fd3b2067-2981-4ad8-bf3a-d2e1004e4fa8" providerId="ADAL" clId="{3E9ECF96-226D-4AF2-81C7-0101A1670EF0}" dt="2024-02-28T13:09:59.888" v="8" actId="27918"/>
      <pc:docMkLst>
        <pc:docMk/>
      </pc:docMkLst>
      <pc:sldChg chg="modSp mod">
        <pc:chgData name="Weigel Stefan (PAR-EPS)" userId="fd3b2067-2981-4ad8-bf3a-d2e1004e4fa8" providerId="ADAL" clId="{3E9ECF96-226D-4AF2-81C7-0101A1670EF0}" dt="2024-02-28T13:09:59.888" v="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3E9ECF96-226D-4AF2-81C7-0101A1670EF0}" dt="2024-02-28T13:09:16.870" v="0"/>
          <ac:spMkLst>
            <pc:docMk/>
            <pc:sldMk cId="1183644670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05:50.832" v="78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05:50.832" v="78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éraillements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F8989"/>
              </a:solidFill>
            </c:spPr>
            <c:extLst>
              <c:ext xmlns:c16="http://schemas.microsoft.com/office/drawing/2014/chart" uri="{C3380CC4-5D6E-409C-BE32-E72D297353CC}">
                <c16:uniqueId val="{00000000-E62B-4076-A598-1609444C101A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</c:v>
                </c:pt>
                <c:pt idx="1">
                  <c:v>5</c:v>
                </c:pt>
                <c:pt idx="2">
                  <c:v>0</c:v>
                </c:pt>
                <c:pt idx="3">
                  <c:v>4</c:v>
                </c:pt>
                <c:pt idx="4">
                  <c:v>4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  <c:pt idx="8">
                  <c:v>4</c:v>
                </c:pt>
                <c:pt idx="9">
                  <c:v>2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Collisions rapportées au nombre de courses 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1-E62B-4076-A598-1609444C101A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  <c:pt idx="4">
                  <c:v>7</c:v>
                </c:pt>
                <c:pt idx="5">
                  <c:v>5</c:v>
                </c:pt>
                <c:pt idx="6">
                  <c:v>10</c:v>
                </c:pt>
                <c:pt idx="7">
                  <c:v>11</c:v>
                </c:pt>
                <c:pt idx="8">
                  <c:v>10</c:v>
                </c:pt>
                <c:pt idx="9">
                  <c:v>13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Accidents survenus à des passages à niveau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00000"/>
              </a:solidFill>
            </c:spPr>
            <c:extLst>
              <c:ext xmlns:c16="http://schemas.microsoft.com/office/drawing/2014/chart" uri="{C3380CC4-5D6E-409C-BE32-E72D297353CC}">
                <c16:uniqueId val="{00000002-E62B-4076-A598-1609444C101A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1</c:v>
                </c:pt>
                <c:pt idx="1">
                  <c:v>8</c:v>
                </c:pt>
                <c:pt idx="2">
                  <c:v>10</c:v>
                </c:pt>
                <c:pt idx="3">
                  <c:v>12</c:v>
                </c:pt>
                <c:pt idx="4">
                  <c:v>15</c:v>
                </c:pt>
                <c:pt idx="5">
                  <c:v>15</c:v>
                </c:pt>
                <c:pt idx="6">
                  <c:v>12</c:v>
                </c:pt>
                <c:pt idx="7">
                  <c:v>11</c:v>
                </c:pt>
                <c:pt idx="8">
                  <c:v>13</c:v>
                </c:pt>
                <c:pt idx="9">
                  <c:v>12</c:v>
                </c:pt>
                <c:pt idx="1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Accidents de voyageurs ou de tiers lors de l’accès aux train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7F0000"/>
              </a:solidFill>
            </c:spPr>
            <c:extLst>
              <c:ext xmlns:c16="http://schemas.microsoft.com/office/drawing/2014/chart" uri="{C3380CC4-5D6E-409C-BE32-E72D297353CC}">
                <c16:uniqueId val="{00000003-E62B-4076-A598-1609444C101A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4</c:v>
                </c:pt>
                <c:pt idx="7">
                  <c:v>4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Collisions rapportées au nombre de courses par million de sillons­kilomètres</c:v>
                </c:pt>
              </c:strCache>
            </c:strRef>
          </c:tx>
          <c:spPr>
            <a:ln>
              <a:solidFill>
                <a:srgbClr val="B0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6.0000000000000001E-3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0.04</c:v>
                </c:pt>
                <c:pt idx="5">
                  <c:v>0.03</c:v>
                </c:pt>
                <c:pt idx="6">
                  <c:v>0.06</c:v>
                </c:pt>
                <c:pt idx="7">
                  <c:v>0.06</c:v>
                </c:pt>
                <c:pt idx="8">
                  <c:v>0.05</c:v>
                </c:pt>
                <c:pt idx="9">
                  <c:v>7.0000000000000007E-2</c:v>
                </c:pt>
                <c:pt idx="10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52744878302460318"/>
          <c:h val="0.22057605442374534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784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8245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CH" sz="1100" noProof="0" dirty="0"/>
            <a:t>nombre </a:t>
          </a:r>
          <a:endParaRPr lang="fr-CH" sz="1100" noProof="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7469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7932433" y="392032"/>
          <a:ext cx="128457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fr-CH" sz="1100" noProof="0" dirty="0"/>
            <a:t>nombre/M sillon-k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Accidents d’exploitation ferroviair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11041515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AEEAB40-68B5-8C7C-3693-60ADB0432ADE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ccidents sur le réseau de l’infrastructure CFF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468A4A-6C31-47E5-AAC9-D681357F10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ccidents d’exploitation ferroviair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idents d’exploitation ferroviaire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5-02-24T12:5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